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theme/themeOverride2.xml" ContentType="application/vnd.openxmlformats-officedocument.themeOverride+xml"/>
  <Override PartName="/ppt/charts/chart4.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tags/tag34.xml" ContentType="application/vnd.openxmlformats-officedocument.presentationml.tags+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tags/tag35.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tags/tag3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6" r:id="rId4"/>
  </p:sldMasterIdLst>
  <p:notesMasterIdLst>
    <p:notesMasterId r:id="rId15"/>
  </p:notesMasterIdLst>
  <p:sldIdLst>
    <p:sldId id="2147378078" r:id="rId5"/>
    <p:sldId id="2147475149" r:id="rId6"/>
    <p:sldId id="2147473412" r:id="rId7"/>
    <p:sldId id="13801" r:id="rId8"/>
    <p:sldId id="2147473384" r:id="rId9"/>
    <p:sldId id="2147475168" r:id="rId10"/>
    <p:sldId id="2147475151" r:id="rId11"/>
    <p:sldId id="2147475152" r:id="rId12"/>
    <p:sldId id="2147475148" r:id="rId13"/>
    <p:sldId id="2147475150" r:id="rId1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E81D5E-7428-4206-B7E6-6B818DF1C011}" v="12" dt="2024-11-01T08:47:36.4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3" d="100"/>
          <a:sy n="103" d="100"/>
        </p:scale>
        <p:origin x="15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B6E81D5E-7428-4206-B7E6-6B818DF1C011}"/>
    <pc:docChg chg="custSel modSld delMainMaster modMainMaster">
      <pc:chgData name="Neriman EL HADIDI" userId="4b24840c-84b3-44ac-9131-ca3568cb403b" providerId="ADAL" clId="{B6E81D5E-7428-4206-B7E6-6B818DF1C011}" dt="2024-11-01T08:47:36.460" v="10"/>
      <pc:docMkLst>
        <pc:docMk/>
      </pc:docMkLst>
      <pc:sldChg chg="delSp mod">
        <pc:chgData name="Neriman EL HADIDI" userId="4b24840c-84b3-44ac-9131-ca3568cb403b" providerId="ADAL" clId="{B6E81D5E-7428-4206-B7E6-6B818DF1C011}" dt="2024-11-01T08:44:36.398" v="0" actId="478"/>
        <pc:sldMkLst>
          <pc:docMk/>
          <pc:sldMk cId="0" sldId="2147473412"/>
        </pc:sldMkLst>
        <pc:spChg chg="del">
          <ac:chgData name="Neriman EL HADIDI" userId="4b24840c-84b3-44ac-9131-ca3568cb403b" providerId="ADAL" clId="{B6E81D5E-7428-4206-B7E6-6B818DF1C011}" dt="2024-11-01T08:44:36.398" v="0" actId="478"/>
          <ac:spMkLst>
            <pc:docMk/>
            <pc:sldMk cId="0" sldId="2147473412"/>
            <ac:spMk id="3" creationId="{628F787F-C378-5EE4-B305-0AE361710C10}"/>
          </ac:spMkLst>
        </pc:spChg>
        <pc:spChg chg="del">
          <ac:chgData name="Neriman EL HADIDI" userId="4b24840c-84b3-44ac-9131-ca3568cb403b" providerId="ADAL" clId="{B6E81D5E-7428-4206-B7E6-6B818DF1C011}" dt="2024-11-01T08:44:36.398" v="0" actId="478"/>
          <ac:spMkLst>
            <pc:docMk/>
            <pc:sldMk cId="0" sldId="2147473412"/>
            <ac:spMk id="8" creationId="{B0B95055-509A-F445-86D3-A92D25C20D8B}"/>
          </ac:spMkLst>
        </pc:spChg>
      </pc:sldChg>
      <pc:sldChg chg="modSp">
        <pc:chgData name="Neriman EL HADIDI" userId="4b24840c-84b3-44ac-9131-ca3568cb403b" providerId="ADAL" clId="{B6E81D5E-7428-4206-B7E6-6B818DF1C011}" dt="2024-11-01T08:47:36.460" v="10"/>
        <pc:sldMkLst>
          <pc:docMk/>
          <pc:sldMk cId="1059335515" sldId="2147475149"/>
        </pc:sldMkLst>
        <pc:graphicFrameChg chg="mod">
          <ac:chgData name="Neriman EL HADIDI" userId="4b24840c-84b3-44ac-9131-ca3568cb403b" providerId="ADAL" clId="{B6E81D5E-7428-4206-B7E6-6B818DF1C011}" dt="2024-11-01T08:47:36.460" v="10"/>
          <ac:graphicFrameMkLst>
            <pc:docMk/>
            <pc:sldMk cId="1059335515" sldId="2147475149"/>
            <ac:graphicFrameMk id="30" creationId="{BEA8EE7C-F76C-4D6E-8B71-2C2B6C6C031D}"/>
          </ac:graphicFrameMkLst>
        </pc:graphicFrameChg>
        <pc:graphicFrameChg chg="mod">
          <ac:chgData name="Neriman EL HADIDI" userId="4b24840c-84b3-44ac-9131-ca3568cb403b" providerId="ADAL" clId="{B6E81D5E-7428-4206-B7E6-6B818DF1C011}" dt="2024-11-01T08:47:29.505" v="9"/>
          <ac:graphicFrameMkLst>
            <pc:docMk/>
            <pc:sldMk cId="1059335515" sldId="2147475149"/>
            <ac:graphicFrameMk id="31" creationId="{D60E6CB1-B8E9-4BFA-A4C2-BE3B93DBDF82}"/>
          </ac:graphicFrameMkLst>
        </pc:graphicFrameChg>
        <pc:graphicFrameChg chg="mod">
          <ac:chgData name="Neriman EL HADIDI" userId="4b24840c-84b3-44ac-9131-ca3568cb403b" providerId="ADAL" clId="{B6E81D5E-7428-4206-B7E6-6B818DF1C011}" dt="2024-11-01T08:47:09.717" v="8"/>
          <ac:graphicFrameMkLst>
            <pc:docMk/>
            <pc:sldMk cId="1059335515" sldId="2147475149"/>
            <ac:graphicFrameMk id="32" creationId="{7F09B27F-4E26-4EFB-8578-68A3DB9629CA}"/>
          </ac:graphicFrameMkLst>
        </pc:graphicFrameChg>
      </pc:sldChg>
      <pc:sldMasterChg chg="del">
        <pc:chgData name="Neriman EL HADIDI" userId="4b24840c-84b3-44ac-9131-ca3568cb403b" providerId="ADAL" clId="{B6E81D5E-7428-4206-B7E6-6B818DF1C011}" dt="2024-11-01T08:45:39.187" v="1" actId="2696"/>
        <pc:sldMasterMkLst>
          <pc:docMk/>
          <pc:sldMasterMk cId="823099819" sldId="2147483792"/>
        </pc:sldMasterMkLst>
      </pc:sldMasterChg>
      <pc:sldMasterChg chg="del">
        <pc:chgData name="Neriman EL HADIDI" userId="4b24840c-84b3-44ac-9131-ca3568cb403b" providerId="ADAL" clId="{B6E81D5E-7428-4206-B7E6-6B818DF1C011}" dt="2024-11-01T08:46:04.026" v="2" actId="2696"/>
        <pc:sldMasterMkLst>
          <pc:docMk/>
          <pc:sldMasterMk cId="4279359491" sldId="2147483842"/>
        </pc:sldMasterMkLst>
      </pc:sldMasterChg>
      <pc:sldMasterChg chg="modSldLayout">
        <pc:chgData name="Neriman EL HADIDI" userId="4b24840c-84b3-44ac-9131-ca3568cb403b" providerId="ADAL" clId="{B6E81D5E-7428-4206-B7E6-6B818DF1C011}" dt="2024-11-01T08:46:19.132" v="3" actId="14100"/>
        <pc:sldMasterMkLst>
          <pc:docMk/>
          <pc:sldMasterMk cId="4001983691" sldId="2147483946"/>
        </pc:sldMasterMkLst>
        <pc:sldLayoutChg chg="modSp mod">
          <pc:chgData name="Neriman EL HADIDI" userId="4b24840c-84b3-44ac-9131-ca3568cb403b" providerId="ADAL" clId="{B6E81D5E-7428-4206-B7E6-6B818DF1C011}" dt="2024-11-01T08:46:19.132" v="3" actId="14100"/>
          <pc:sldLayoutMkLst>
            <pc:docMk/>
            <pc:sldMasterMk cId="4001983691" sldId="2147483946"/>
            <pc:sldLayoutMk cId="4023644576" sldId="2147484007"/>
          </pc:sldLayoutMkLst>
          <pc:spChg chg="mod">
            <ac:chgData name="Neriman EL HADIDI" userId="4b24840c-84b3-44ac-9131-ca3568cb403b" providerId="ADAL" clId="{B6E81D5E-7428-4206-B7E6-6B818DF1C011}" dt="2024-11-01T08:46:19.132" v="3" actId="14100"/>
            <ac:spMkLst>
              <pc:docMk/>
              <pc:sldMasterMk cId="4001983691" sldId="2147483946"/>
              <pc:sldLayoutMk cId="4023644576" sldId="2147484007"/>
              <ac:spMk id="2" creationId="{E5808D65-B4B3-3AF9-D068-D172F8F8A3C9}"/>
            </ac:spMkLst>
          </pc:spChg>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1.xml"/><Relationship Id="rId1" Type="http://schemas.microsoft.com/office/2011/relationships/chartStyle" Target="style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6A30FF0-C0BA-4F8A-B72C-9A6DD3D9BF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860BE89-122B-4A36-A8B0-82A847E5EB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0103D85-EA83-45C2-A4A7-E7E85F28E6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79CCF83-0C24-432E-846B-4198371253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ABD5201-5789-4E98-8409-CDF3218486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734C7589-3F5C-4907-AFA7-C447207E6A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72865371-8378-49E4-81A8-5F32E9FB2D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126C00C5-AB6F-4298-81C9-99D280422B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0"/>
        <c:ser>
          <c:idx val="2"/>
          <c:order val="0"/>
          <c:tx>
            <c:strRef>
              <c:f>Sheet1!$B$1</c:f>
              <c:strCache>
                <c:ptCount val="1"/>
                <c:pt idx="0">
                  <c:v>vs YA</c:v>
                </c:pt>
              </c:strCache>
            </c:strRef>
          </c:tx>
          <c:spPr>
            <a:solidFill>
              <a:srgbClr val="DEDDDD"/>
            </a:solidFill>
            <a:ln w="9525" cap="flat" cmpd="sng" algn="ctr">
              <a:noFill/>
              <a:round/>
            </a:ln>
            <a:effectLst/>
          </c:spPr>
          <c:invertIfNegative val="1"/>
          <c:dPt>
            <c:idx val="0"/>
            <c:invertIfNegative val="1"/>
            <c:bubble3D val="0"/>
            <c:spPr>
              <a:solidFill>
                <a:srgbClr val="BCBBBB"/>
              </a:solidFill>
              <a:ln w="9525" cap="flat" cmpd="sng" algn="ctr">
                <a:noFill/>
                <a:round/>
              </a:ln>
              <a:effectLst/>
            </c:spPr>
            <c:extLst>
              <c:ext xmlns:c16="http://schemas.microsoft.com/office/drawing/2014/chart" uri="{C3380CC4-5D6E-409C-BE32-E72D297353CC}">
                <c16:uniqueId val="{00000000-6BB3-4B8C-B509-8907AD7C9642}"/>
              </c:ext>
            </c:extLst>
          </c:dPt>
          <c:dPt>
            <c:idx val="2"/>
            <c:invertIfNegative val="1"/>
            <c:bubble3D val="0"/>
            <c:spPr>
              <a:solidFill>
                <a:srgbClr val="BCBBBB"/>
              </a:solidFill>
              <a:ln w="9525" cap="flat" cmpd="sng" algn="ctr">
                <a:noFill/>
                <a:round/>
              </a:ln>
              <a:effectLst/>
            </c:spPr>
            <c:extLst>
              <c:ext xmlns:c16="http://schemas.microsoft.com/office/drawing/2014/chart" uri="{C3380CC4-5D6E-409C-BE32-E72D297353CC}">
                <c16:uniqueId val="{00000002-6BB3-4B8C-B509-8907AD7C9642}"/>
              </c:ext>
            </c:extLst>
          </c:dPt>
          <c:dPt>
            <c:idx val="3"/>
            <c:invertIfNegative val="1"/>
            <c:bubble3D val="0"/>
            <c:spPr>
              <a:solidFill>
                <a:srgbClr val="BCBBBB"/>
              </a:solidFill>
              <a:ln w="9525" cap="flat" cmpd="sng" algn="ctr">
                <a:noFill/>
                <a:round/>
              </a:ln>
              <a:effectLst/>
            </c:spPr>
            <c:extLst>
              <c:ext xmlns:c16="http://schemas.microsoft.com/office/drawing/2014/chart" uri="{C3380CC4-5D6E-409C-BE32-E72D297353CC}">
                <c16:uniqueId val="{00000003-6BB3-4B8C-B509-8907AD7C9642}"/>
              </c:ext>
            </c:extLst>
          </c:dPt>
          <c:dPt>
            <c:idx val="5"/>
            <c:invertIfNegative val="1"/>
            <c:bubble3D val="0"/>
            <c:spPr>
              <a:solidFill>
                <a:srgbClr val="BCBBBB"/>
              </a:solidFill>
              <a:ln w="9525" cap="flat" cmpd="sng" algn="ctr">
                <a:noFill/>
                <a:round/>
              </a:ln>
              <a:effectLst/>
            </c:spPr>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AEABAB"/>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rgbClr val="AEABAB">
                <a:alpha val="84706"/>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3:$G$3</c:f>
              <c:numCache>
                <c:formatCode>General</c:formatCode>
                <c:ptCount val="6"/>
                <c:pt idx="0">
                  <c:v>20.145111283183002</c:v>
                </c:pt>
                <c:pt idx="1">
                  <c:v>18.297219713472032</c:v>
                </c:pt>
                <c:pt idx="2">
                  <c:v>25.215493998588325</c:v>
                </c:pt>
                <c:pt idx="3">
                  <c:v>16.596265989331574</c:v>
                </c:pt>
                <c:pt idx="4">
                  <c:v>16.081540373663277</c:v>
                </c:pt>
                <c:pt idx="5">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2:$G$2</c:f>
              <c:numCache>
                <c:formatCode>General</c:formatCode>
                <c:ptCount val="6"/>
                <c:pt idx="0">
                  <c:v>10.758277061615859</c:v>
                </c:pt>
                <c:pt idx="1">
                  <c:v>3.0910347181407487</c:v>
                </c:pt>
                <c:pt idx="2">
                  <c:v>12.157943314665218</c:v>
                </c:pt>
                <c:pt idx="3">
                  <c:v>8.6870910655722113</c:v>
                </c:pt>
                <c:pt idx="4">
                  <c:v>19.550743503425565</c:v>
                </c:pt>
                <c:pt idx="5">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4:$G$4</c:f>
              <c:numCache>
                <c:formatCode>General</c:formatCode>
                <c:ptCount val="6"/>
                <c:pt idx="0">
                  <c:v>47.834263859993008</c:v>
                </c:pt>
                <c:pt idx="1">
                  <c:v>44.445643468329422</c:v>
                </c:pt>
                <c:pt idx="2">
                  <c:v>52.617033699389324</c:v>
                </c:pt>
                <c:pt idx="3">
                  <c:v>38.875956611038255</c:v>
                </c:pt>
                <c:pt idx="4">
                  <c:v>73.189835909430073</c:v>
                </c:pt>
                <c:pt idx="5">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5:$G$5</c:f>
              <c:numCache>
                <c:formatCode>General</c:formatCode>
                <c:ptCount val="6"/>
                <c:pt idx="0">
                  <c:v>11.810647830718807</c:v>
                </c:pt>
                <c:pt idx="1">
                  <c:v>9.8750846849913358</c:v>
                </c:pt>
                <c:pt idx="2">
                  <c:v>13.498570651896415</c:v>
                </c:pt>
                <c:pt idx="3">
                  <c:v>9.6238970498913119</c:v>
                </c:pt>
                <c:pt idx="4">
                  <c:v>16.323317967977829</c:v>
                </c:pt>
                <c:pt idx="5">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45EDB8A-B3AF-456A-B401-3A14B3C97A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2E9DB4F-1D2D-4BEC-B0F6-85C1D5C42E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2E688DB-B74E-4A5C-88BA-594AF9C0F6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5F4EADF-48D0-4E52-A0CE-C23A11AF9D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E8F0CB4-E1B8-4622-A5D2-7D8A03B4B0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89ADC54C-9438-4DDC-B054-7C72CD03D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8DA692BC-A29E-4E75-B211-8987CFBD07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B19FAFD-BFA8-4E2D-8D73-510D6BF7EF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A5D16E36-4E66-4CD7-8C2A-9317AAC37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3A520185-6943-4836-A0BA-A05A5F711F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751E2D3A-6A79-4083-B109-006A5D1C40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6A65C10-0832-4DDC-BAD0-7AC27393BC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76F6817A-6B90-45C8-A270-68B8ACEE2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17208FDC-27C1-4179-A4B9-2BE4F91A17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AB16910A-E2F0-4254-A189-0B17758495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4A5D1E87-7611-4BB3-91AF-0B64B41B8C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8DF84453-5A57-4DDF-8348-BF2ECB8825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18C4DFC7-95E6-43BE-BDAF-2BA52739B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5A58BB87-07CA-486B-8D49-3B80C6CE72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3B3335F2-922A-43BF-927A-2E419D2882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AF70B3E5-4613-40DD-B337-37BB1017A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2F1FF7D-745C-42F0-B665-5002979EF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06FC0427-BBFF-4AFC-8941-8C0B3D5723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4B779047-E5B2-42CF-A842-4C47122FE2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3FC985D6-FB42-4363-B79B-6C41B4774C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F32CCC5-7320-4ADE-BECA-2DC91B6E8A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8FBC6276-540C-4BD3-9599-014BE96C1A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FB690858-295A-4401-B3BB-BCA57B522A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E51F3F6F-CB9D-4140-ABF8-ED76F93F3C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489ED708-005F-4656-8917-E79F11DD41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45B780D7-D2A1-4284-807C-9BE4CB20F9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773398D7-48E9-404F-9A8A-4A1656104D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6B1BAA2F-8B25-49AE-A473-78926D1D03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E5C03710-27EA-4757-969E-57B7908300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5D7E32AA-7C35-4339-BAD8-B38CC56C37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2CB9FBA7-374F-432C-AD3A-B063C2D76C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8296485E-FEC9-452C-B75E-23F54AE17A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68C6A468-0876-411F-B1A7-695AD64D9C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5CFCC25F-D6DC-4949-8024-CCD5DE81D4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5C1CBF2-A1DA-4CCA-9F8A-3AB280E652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75115DB3-8554-47E2-A772-1FD3BB8AE8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350DE703-BFBC-4A6D-B599-1BC51E1EEB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D981925A-7720-489A-BB00-CFC5C29157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B113E0EE-B582-440D-8243-BB5039EF73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E787A9BF-B71F-4333-BF8D-8916F88FA4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E52E97E7-CCBF-4B3A-AB93-D65C1E2758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D9D72F83-F2B7-436A-B73A-203650EE9B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CF8438A2-88E9-4C4E-9F56-96AC9645E1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4DE17756-0F14-480E-A880-08E5EE2141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4BD3C854-D89B-4369-BFCD-B05FD771EC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245CDB53-7217-4F1F-B4E2-A539B664D2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70AC8552-E6D9-4109-9581-7D5FCEDF03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A883D90C-0AA8-4786-8069-695D951F49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72776D57-A023-4404-9807-BC22853AFB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ADCB48D2-09C2-4CF8-B012-A8D2F49B54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7EC6597B-FD0B-4D4B-A8AB-4F4BA1CCF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D91DCA82-68F7-41E3-BBB2-D3B465AC89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60AA5D-4F30-4926-832F-1F6D5DB8C3D3}" type="datetimeFigureOut">
              <a:rPr lang="en-AE" smtClean="0"/>
              <a:t>16/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417CA-BF64-4138-B35A-E36A7A78C840}" type="slidenum">
              <a:rPr lang="en-AE" smtClean="0"/>
              <a:t>‹#›</a:t>
            </a:fld>
            <a:endParaRPr lang="en-AE"/>
          </a:p>
        </p:txBody>
      </p:sp>
    </p:spTree>
    <p:extLst>
      <p:ext uri="{BB962C8B-B14F-4D97-AF65-F5344CB8AC3E}">
        <p14:creationId xmlns:p14="http://schemas.microsoft.com/office/powerpoint/2010/main" val="10909677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094107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42771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5649971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09817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68814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270945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837920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1529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03419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04443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13046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2898284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78413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163276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311731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905287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077200" y="4972050"/>
            <a:ext cx="562799" cy="171450"/>
          </a:xfrm>
          <a:prstGeom prst="rect">
            <a:avLst/>
          </a:prstGeom>
        </p:spPr>
        <p:txBody>
          <a:bodyPr/>
          <a:lstStyle>
            <a:lvl1pPr>
              <a:defRPr/>
            </a:lvl1pPr>
          </a:lstStyle>
          <a:p>
            <a:r>
              <a:rPr lang="en-US" dirty="0"/>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0236445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r>
              <a:rPr lang="en-US"/>
              <a:t>14/01/2024</a:t>
            </a:r>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06911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2474003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4066354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3252070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358720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r>
              <a:rPr lang="en-US"/>
              <a:t>14/01/2024</a:t>
            </a:r>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4285317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5776292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spTree>
    <p:extLst>
      <p:ext uri="{BB962C8B-B14F-4D97-AF65-F5344CB8AC3E}">
        <p14:creationId xmlns:p14="http://schemas.microsoft.com/office/powerpoint/2010/main" val="4001983691"/>
      </p:ext>
    </p:extLst>
  </p:cSld>
  <p:clrMap bg1="lt1" tx1="dk1" bg2="lt2" tx2="dk2" accent1="accent1" accent2="accent2" accent3="accent3" accent4="accent4" accent5="accent5" accent6="accent6" hlink="hlink" folHlink="folHlink"/>
  <p:sldLayoutIdLst>
    <p:sldLayoutId id="2147483947"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 id="2147483969" r:id="rId20"/>
    <p:sldLayoutId id="2147483970" r:id="rId21"/>
    <p:sldLayoutId id="2147483971" r:id="rId22"/>
    <p:sldLayoutId id="2147484006" r:id="rId23"/>
    <p:sldLayoutId id="2147484007"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notesSlide" Target="../notesSlides/notesSlide2.xml"/><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6.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65201683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73258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rPr lang="en-US" dirty="0"/>
              <a:t>Trade margin table vs Competition </a:t>
            </a:r>
            <a:r>
              <a:rPr lang="en-GB" dirty="0"/>
              <a:t>|</a:t>
            </a:r>
            <a:r>
              <a:rPr lang="en-CH" dirty="0"/>
              <a:t> </a:t>
            </a:r>
            <a:r>
              <a:rPr lang="en-US" dirty="0"/>
              <a:t>Chocolate | Panda </a:t>
            </a:r>
            <a:r>
              <a:rPr lang="en-GB" dirty="0"/>
              <a:t>|</a:t>
            </a:r>
            <a:r>
              <a:rPr lang="en-CH" dirty="0"/>
              <a:t> </a:t>
            </a:r>
            <a:r>
              <a:rPr lang="en-US" dirty="0"/>
              <a:t>Hershey’s | P12M</a:t>
            </a:r>
            <a:endParaRPr lang="en-GB" dirty="0"/>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534140"/>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fontAlgn="ctr"/>
                      <a:r>
                        <a:rPr lang="en-US" sz="1000" b="0" i="0" u="none" strike="noStrike">
                          <a:solidFill>
                            <a:schemeClr val="bg1"/>
                          </a:solidFill>
                          <a:effectLst/>
                          <a:latin typeface="Nexa Bold" panose="00000800000000000000" pitchFamily="2" charset="0"/>
                        </a:rPr>
                        <a:t>Customer Profit from </a:t>
                      </a:r>
                      <a:r>
                        <a:rPr lang="en-US" sz="1000" b="0" i="0" u="none" strike="noStrike">
                          <a:solidFill>
                            <a:schemeClr val="bg1"/>
                          </a:solidFill>
                          <a:effectLst/>
                          <a:highlight>
                            <a:srgbClr val="FFFF00"/>
                          </a:highlight>
                          <a:latin typeface="Nexa Bold" panose="00000800000000000000" pitchFamily="2" charset="0"/>
                        </a:rPr>
                        <a:t>Client</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fontAlgn="ctr"/>
                      <a:r>
                        <a:rPr kumimoji="0" lang="en-US" sz="1000" b="0" i="0" u="none" strike="noStrike" kern="1200" cap="none" spc="0" normalizeH="0" baseline="0" noProof="0">
                          <a:ln>
                            <a:noFill/>
                          </a:ln>
                          <a:solidFill>
                            <a:schemeClr val="bg1"/>
                          </a:solidFill>
                          <a:effectLst/>
                          <a:uLnTx/>
                          <a:uFillTx/>
                          <a:latin typeface="Nexa Bold" panose="00000800000000000000" pitchFamily="2" charset="0"/>
                          <a:ea typeface="+mn-ea"/>
                          <a:cs typeface="+mn-cs"/>
                        </a:rPr>
                        <a:t>Customer Profit from </a:t>
                      </a:r>
                      <a:r>
                        <a:rPr kumimoji="0" lang="en-US" sz="1000" b="0" i="0" u="none" strike="noStrike" kern="1200" cap="none" spc="0" normalizeH="0" baseline="0" noProof="0">
                          <a:ln>
                            <a:noFill/>
                          </a:ln>
                          <a:solidFill>
                            <a:schemeClr val="bg1"/>
                          </a:solidFill>
                          <a:effectLst/>
                          <a:highlight>
                            <a:srgbClr val="FFFF00"/>
                          </a:highlight>
                          <a:uLnTx/>
                          <a:uFillTx/>
                          <a:latin typeface="Nexa Bold" panose="00000800000000000000" pitchFamily="2" charset="0"/>
                          <a:ea typeface="+mn-ea"/>
                          <a:cs typeface="+mn-cs"/>
                        </a:rPr>
                        <a:t>PL</a:t>
                      </a:r>
                      <a:endParaRPr lang="en-US" sz="1000" b="0" i="0" u="none" strike="noStrike">
                        <a:solidFill>
                          <a:schemeClr val="bg1"/>
                        </a:solidFill>
                        <a:effectLst/>
                        <a:highlight>
                          <a:srgbClr val="FFFF00"/>
                        </a:highlight>
                        <a:latin typeface="Nexa Bold" panose="00000800000000000000" pitchFamily="2" charset="0"/>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106253">
                <a:tc>
                  <a:txBody>
                    <a:bodyPr/>
                    <a:lstStyle/>
                    <a:p>
                      <a:pPr algn="r" fontAlgn="b"/>
                      <a:r>
                        <a:rPr lang="en-US" sz="800" b="0" i="0" u="none" strike="noStrike" dirty="0">
                          <a:solidFill>
                            <a:srgbClr val="575555"/>
                          </a:solidFill>
                          <a:effectLst/>
                          <a:latin typeface="+mn-lt"/>
                        </a:rPr>
                        <a:t>Fish Finge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7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9.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118327"/>
                  </a:ext>
                </a:extLst>
              </a:tr>
              <a:tr h="106253">
                <a:tc>
                  <a:txBody>
                    <a:bodyPr/>
                    <a:lstStyle/>
                    <a:p>
                      <a:pPr algn="r" fontAlgn="b"/>
                      <a:r>
                        <a:rPr lang="en-US" sz="800" b="0" i="0" u="none" strike="noStrike" dirty="0">
                          <a:solidFill>
                            <a:srgbClr val="575555"/>
                          </a:solidFill>
                          <a:effectLst/>
                          <a:latin typeface="+mn-lt"/>
                        </a:rPr>
                        <a:t>Other Coated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4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2.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7.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3571205"/>
                  </a:ext>
                </a:extLst>
              </a:tr>
              <a:tr h="106253">
                <a:tc>
                  <a:txBody>
                    <a:bodyPr/>
                    <a:lstStyle/>
                    <a:p>
                      <a:pPr algn="r" fontAlgn="b"/>
                      <a:r>
                        <a:rPr lang="en-US" sz="800" b="0" i="0" u="none" strike="noStrike" dirty="0">
                          <a:solidFill>
                            <a:srgbClr val="575555"/>
                          </a:solidFill>
                          <a:effectLst/>
                          <a:latin typeface="+mn-lt"/>
                        </a:rPr>
                        <a:t>Nat White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1.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540141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663484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5621916"/>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357841"/>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383049"/>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507538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090803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106253">
                <a:tc>
                  <a:txBody>
                    <a:bodyPr/>
                    <a:lstStyle/>
                    <a:p>
                      <a:pPr algn="r" fontAlgn="b"/>
                      <a:r>
                        <a:rPr lang="en-US" sz="800" b="0" i="0" u="none" strike="noStrike">
                          <a:solidFill>
                            <a:srgbClr val="575555"/>
                          </a:solidFill>
                          <a:effectLst/>
                          <a:latin typeface="+mn-lt"/>
                        </a:rP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4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2.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21.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dirty="0">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8339894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71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146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561945761"/>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0593355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fr-FR"/>
              <a:t>DATA SOURCE: Client P&amp;L</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US" dirty="0"/>
              <a:t>Sector KPIs Summary | Cream Cheese | National | Hershey</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r>
              <a:rPr lang="en-US" dirty="0">
                <a:highlight>
                  <a:srgbClr val="FFFF00"/>
                </a:highlight>
              </a:rPr>
              <a:t>Sector</a:t>
            </a:r>
            <a:r>
              <a:rPr lang="en-CH" dirty="0">
                <a:highlight>
                  <a:srgbClr val="FFFF00"/>
                </a:highlight>
              </a:rPr>
              <a:t>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extLst>
              <p:ext uri="{D42A27DB-BD31-4B8C-83A1-F6EECF244321}">
                <p14:modId xmlns:p14="http://schemas.microsoft.com/office/powerpoint/2010/main" val="872062300"/>
              </p:ext>
            </p:extLst>
          </p:nvPr>
        </p:nvGraphicFramePr>
        <p:xfrm>
          <a:off x="546970" y="1134112"/>
          <a:ext cx="8093029" cy="1766024"/>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297663">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Sector</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 Sales (</a:t>
                      </a:r>
                      <a:r>
                        <a:rPr lang="fr-CH" sz="900" u="none" strike="noStrike">
                          <a:solidFill>
                            <a:schemeClr val="tx2"/>
                          </a:solidFill>
                          <a:effectLst/>
                          <a:highlight>
                            <a:srgbClr val="FFFF00"/>
                          </a:highlight>
                          <a:latin typeface="Nexa Bold" panose="00000800000000000000"/>
                          <a:ea typeface="Open Sans" panose="020B0606030504020204" pitchFamily="34" charset="0"/>
                          <a:cs typeface="Open Sans" panose="020B0606030504020204" pitchFamily="34" charset="0"/>
                        </a:rPr>
                        <a:t>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Soft</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498</a:t>
                      </a:r>
                      <a:r>
                        <a:rPr lang="en-US" sz="800">
                          <a:solidFill>
                            <a:srgbClr val="575555"/>
                          </a:solidFill>
                          <a:latin typeface="Nexa Book"/>
                        </a:rPr>
                        <a:t>.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88%</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7%</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100</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5065472"/>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Brick</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580</a:t>
                      </a:r>
                      <a:r>
                        <a:rPr lang="en-US" sz="800">
                          <a:solidFill>
                            <a:srgbClr val="575555"/>
                          </a:solidFill>
                          <a:latin typeface="Nexa Book"/>
                        </a:rPr>
                        <a:t>.</a:t>
                      </a:r>
                      <a:r>
                        <a:rPr sz="800">
                          <a:solidFill>
                            <a:srgbClr val="575555"/>
                          </a:solidFill>
                          <a:latin typeface="Nexa Book"/>
                        </a:rPr>
                        <a:t>7</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59%</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2%</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8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Whipped</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19</a:t>
                      </a:r>
                      <a:r>
                        <a:rPr lang="en-US" sz="800" dirty="0">
                          <a:solidFill>
                            <a:srgbClr val="575555"/>
                          </a:solidFill>
                          <a:latin typeface="Nexa Book"/>
                        </a:rPr>
                        <a:t>.3</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66%</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1%</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26</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Pudding/Mousse/Gelatin/Parfaits</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0</a:t>
                      </a:r>
                      <a:r>
                        <a:rPr lang="en-US" sz="800" dirty="0">
                          <a:solidFill>
                            <a:srgbClr val="575555"/>
                          </a:solidFill>
                          <a:latin typeface="Nexa Book"/>
                        </a:rPr>
                        <a:t>.7</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22%</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38%</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43%</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5</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Soft</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498</a:t>
                      </a:r>
                      <a:r>
                        <a:rPr lang="en-US" sz="800">
                          <a:solidFill>
                            <a:srgbClr val="575555"/>
                          </a:solidFill>
                          <a:latin typeface="Nexa Book"/>
                        </a:rPr>
                        <a:t>.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88%</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7%</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100</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Brick</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580</a:t>
                      </a:r>
                      <a:r>
                        <a:rPr lang="en-US" sz="800">
                          <a:solidFill>
                            <a:srgbClr val="575555"/>
                          </a:solidFill>
                          <a:latin typeface="Nexa Book"/>
                        </a:rPr>
                        <a:t>.</a:t>
                      </a:r>
                      <a:r>
                        <a:rPr sz="800">
                          <a:solidFill>
                            <a:srgbClr val="575555"/>
                          </a:solidFill>
                          <a:latin typeface="Nexa Book"/>
                        </a:rPr>
                        <a:t>7</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59%</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2%</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8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857360637"/>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Whipped</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19</a:t>
                      </a:r>
                      <a:r>
                        <a:rPr lang="en-US" sz="800" dirty="0">
                          <a:solidFill>
                            <a:srgbClr val="575555"/>
                          </a:solidFill>
                          <a:latin typeface="Nexa Book"/>
                        </a:rPr>
                        <a:t>.3</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66%</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1%</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26</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280226519"/>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Pudding/Mousse/Gelatin/Parfaits</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0</a:t>
                      </a:r>
                      <a:r>
                        <a:rPr lang="en-US" sz="800" dirty="0">
                          <a:solidFill>
                            <a:srgbClr val="575555"/>
                          </a:solidFill>
                          <a:latin typeface="Nexa Book"/>
                        </a:rPr>
                        <a:t>.7</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22%</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38%</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43%</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5</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846919138"/>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Soft</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498</a:t>
                      </a:r>
                      <a:r>
                        <a:rPr lang="en-US" sz="800">
                          <a:solidFill>
                            <a:srgbClr val="575555"/>
                          </a:solidFill>
                          <a:latin typeface="Nexa Book"/>
                        </a:rPr>
                        <a:t>.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88%</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7%</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100</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0373044"/>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Brick</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580</a:t>
                      </a:r>
                      <a:r>
                        <a:rPr lang="en-US" sz="800" dirty="0">
                          <a:solidFill>
                            <a:srgbClr val="575555"/>
                          </a:solidFill>
                          <a:latin typeface="Nexa Book"/>
                        </a:rPr>
                        <a:t>.</a:t>
                      </a:r>
                      <a:r>
                        <a:rPr sz="800" dirty="0">
                          <a:solidFill>
                            <a:srgbClr val="575555"/>
                          </a:solidFill>
                          <a:latin typeface="Nexa Book"/>
                        </a:rPr>
                        <a:t>7</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59%</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2%</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8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69578306"/>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Whipped</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19</a:t>
                      </a:r>
                      <a:r>
                        <a:rPr lang="en-US" sz="800" dirty="0">
                          <a:solidFill>
                            <a:srgbClr val="575555"/>
                          </a:solidFill>
                          <a:latin typeface="Nexa Book"/>
                        </a:rPr>
                        <a:t>.3</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66%</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1%</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dirty="0">
                          <a:solidFill>
                            <a:srgbClr val="575555"/>
                          </a:solidFill>
                          <a:latin typeface="Nexa Book"/>
                        </a:rPr>
                        <a:t>26</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599167105"/>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a:t>
            </a:fld>
            <a:endParaRPr 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686202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r>
              <a:rPr lang="en-GB"/>
              <a:t>Mix Matrix | Weight of Business (</a:t>
            </a:r>
            <a:r>
              <a:rPr lang="en-GB" err="1"/>
              <a:t>WoB</a:t>
            </a:r>
            <a:r>
              <a:rPr lang="en-GB"/>
              <a:t>) vs. Net Sales per kg (NS/kg) and Gross Margin (GM%) | Client | P12M</a:t>
            </a:r>
            <a:endParaRPr lang="en-CH"/>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231" cy="9182100"/>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418600">
                  <a:extLst>
                    <a:ext uri="{9D8B030D-6E8A-4147-A177-3AD203B41FA5}">
                      <a16:colId xmlns:a16="http://schemas.microsoft.com/office/drawing/2014/main" val="2214050810"/>
                    </a:ext>
                  </a:extLst>
                </a:gridCol>
                <a:gridCol w="418600">
                  <a:extLst>
                    <a:ext uri="{9D8B030D-6E8A-4147-A177-3AD203B41FA5}">
                      <a16:colId xmlns:a16="http://schemas.microsoft.com/office/drawing/2014/main" val="704225536"/>
                    </a:ext>
                  </a:extLst>
                </a:gridCol>
                <a:gridCol w="418600">
                  <a:extLst>
                    <a:ext uri="{9D8B030D-6E8A-4147-A177-3AD203B41FA5}">
                      <a16:colId xmlns:a16="http://schemas.microsoft.com/office/drawing/2014/main" val="1285391802"/>
                    </a:ext>
                  </a:extLst>
                </a:gridCol>
                <a:gridCol w="418600">
                  <a:extLst>
                    <a:ext uri="{9D8B030D-6E8A-4147-A177-3AD203B41FA5}">
                      <a16:colId xmlns:a16="http://schemas.microsoft.com/office/drawing/2014/main" val="3180695831"/>
                    </a:ext>
                  </a:extLst>
                </a:gridCol>
                <a:gridCol w="418600">
                  <a:extLst>
                    <a:ext uri="{9D8B030D-6E8A-4147-A177-3AD203B41FA5}">
                      <a16:colId xmlns:a16="http://schemas.microsoft.com/office/drawing/2014/main" val="3841440830"/>
                    </a:ext>
                  </a:extLst>
                </a:gridCol>
                <a:gridCol w="418600">
                  <a:extLst>
                    <a:ext uri="{9D8B030D-6E8A-4147-A177-3AD203B41FA5}">
                      <a16:colId xmlns:a16="http://schemas.microsoft.com/office/drawing/2014/main" val="3330568015"/>
                    </a:ext>
                  </a:extLst>
                </a:gridCol>
                <a:gridCol w="418600">
                  <a:extLst>
                    <a:ext uri="{9D8B030D-6E8A-4147-A177-3AD203B41FA5}">
                      <a16:colId xmlns:a16="http://schemas.microsoft.com/office/drawing/2014/main" val="3707381308"/>
                    </a:ext>
                  </a:extLst>
                </a:gridCol>
                <a:gridCol w="418600">
                  <a:extLst>
                    <a:ext uri="{9D8B030D-6E8A-4147-A177-3AD203B41FA5}">
                      <a16:colId xmlns:a16="http://schemas.microsoft.com/office/drawing/2014/main" val="4072370141"/>
                    </a:ext>
                  </a:extLst>
                </a:gridCol>
                <a:gridCol w="418600">
                  <a:extLst>
                    <a:ext uri="{9D8B030D-6E8A-4147-A177-3AD203B41FA5}">
                      <a16:colId xmlns:a16="http://schemas.microsoft.com/office/drawing/2014/main" val="226346896"/>
                    </a:ext>
                  </a:extLst>
                </a:gridCol>
                <a:gridCol w="418600">
                  <a:extLst>
                    <a:ext uri="{9D8B030D-6E8A-4147-A177-3AD203B41FA5}">
                      <a16:colId xmlns:a16="http://schemas.microsoft.com/office/drawing/2014/main" val="4016487860"/>
                    </a:ext>
                  </a:extLst>
                </a:gridCol>
                <a:gridCol w="418600">
                  <a:extLst>
                    <a:ext uri="{9D8B030D-6E8A-4147-A177-3AD203B41FA5}">
                      <a16:colId xmlns:a16="http://schemas.microsoft.com/office/drawing/2014/main" val="1439032557"/>
                    </a:ext>
                  </a:extLst>
                </a:gridCol>
                <a:gridCol w="418600">
                  <a:extLst>
                    <a:ext uri="{9D8B030D-6E8A-4147-A177-3AD203B41FA5}">
                      <a16:colId xmlns:a16="http://schemas.microsoft.com/office/drawing/2014/main" val="2412921093"/>
                    </a:ext>
                  </a:extLst>
                </a:gridCol>
                <a:gridCol w="418600">
                  <a:extLst>
                    <a:ext uri="{9D8B030D-6E8A-4147-A177-3AD203B41FA5}">
                      <a16:colId xmlns:a16="http://schemas.microsoft.com/office/drawing/2014/main" val="1272340416"/>
                    </a:ext>
                  </a:extLst>
                </a:gridCol>
                <a:gridCol w="418600">
                  <a:extLst>
                    <a:ext uri="{9D8B030D-6E8A-4147-A177-3AD203B41FA5}">
                      <a16:colId xmlns:a16="http://schemas.microsoft.com/office/drawing/2014/main" val="263149858"/>
                    </a:ext>
                  </a:extLst>
                </a:gridCol>
                <a:gridCol w="418600">
                  <a:extLst>
                    <a:ext uri="{9D8B030D-6E8A-4147-A177-3AD203B41FA5}">
                      <a16:colId xmlns:a16="http://schemas.microsoft.com/office/drawing/2014/main" val="2923820611"/>
                    </a:ext>
                  </a:extLst>
                </a:gridCol>
                <a:gridCol w="418600">
                  <a:extLst>
                    <a:ext uri="{9D8B030D-6E8A-4147-A177-3AD203B41FA5}">
                      <a16:colId xmlns:a16="http://schemas.microsoft.com/office/drawing/2014/main" val="3010580551"/>
                    </a:ext>
                  </a:extLst>
                </a:gridCol>
                <a:gridCol w="418600">
                  <a:extLst>
                    <a:ext uri="{9D8B030D-6E8A-4147-A177-3AD203B41FA5}">
                      <a16:colId xmlns:a16="http://schemas.microsoft.com/office/drawing/2014/main" val="1117647921"/>
                    </a:ext>
                  </a:extLst>
                </a:gridCol>
                <a:gridCol w="418600">
                  <a:extLst>
                    <a:ext uri="{9D8B030D-6E8A-4147-A177-3AD203B41FA5}">
                      <a16:colId xmlns:a16="http://schemas.microsoft.com/office/drawing/2014/main" val="2350766254"/>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National</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Carrefour</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Esselunga</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Pam</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14918">
                <a:tc rowSpan="2">
                  <a:txBody>
                    <a:bodyPr/>
                    <a:lstStyle/>
                    <a:p>
                      <a:r>
                        <a:rPr lang="en-GB" sz="1000" b="0" dirty="0">
                          <a:latin typeface="Nexa Bold" panose="00000800000000000000" pitchFamily="2" charset="0"/>
                        </a:rPr>
                        <a:t>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88465">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9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88465">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88465">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7567623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per kg (NS/kg)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306860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Sector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Sector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chemeClr val="tx2"/>
                          </a:solidFill>
                          <a:effectLst/>
                          <a:latin typeface="Nexa Bold" panose="00000800000000000000" pitchFamily="2" charset="0"/>
                        </a:rPr>
                        <a:t>Tablets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Filled Ba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Pralines/Gif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Mini/Miniatu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Wafe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dirty="0">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20275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321894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299976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D067C82-E5C5-438E-9BC0-F429873EE7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0E6D800-E7DA-4662-9B53-41A7912895DF}">
  <ds:schemaRefs>
    <ds:schemaRef ds:uri="http://schemas.openxmlformats.org/package/2006/metadata/core-properties"/>
    <ds:schemaRef ds:uri="http://purl.org/dc/elements/1.1/"/>
    <ds:schemaRef ds:uri="http://purl.org/dc/dcmitype/"/>
    <ds:schemaRef ds:uri="http://schemas.microsoft.com/office/2006/metadata/properties"/>
    <ds:schemaRef ds:uri="http://schemas.microsoft.com/office/2006/documentManagement/types"/>
    <ds:schemaRef ds:uri="http://schemas.microsoft.com/office/infopath/2007/PartnerControls"/>
    <ds:schemaRef ds:uri="http://purl.org/dc/terms/"/>
    <ds:schemaRef ds:uri="http://www.w3.org/XML/1998/namespace"/>
    <ds:schemaRef ds:uri="0ad93b7f-b0cd-4c46-aaaf-ff14495948cf"/>
    <ds:schemaRef ds:uri="474cf4e4-8a51-432b-9e1b-0ea607ac38ff"/>
  </ds:schemaRefs>
</ds:datastoreItem>
</file>

<file path=customXml/itemProps3.xml><?xml version="1.0" encoding="utf-8"?>
<ds:datastoreItem xmlns:ds="http://schemas.openxmlformats.org/officeDocument/2006/customXml" ds:itemID="{AC113E98-7689-4749-B74E-87793737B60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TotalTime>
  <Words>4492</Words>
  <Application>Microsoft Office PowerPoint</Application>
  <PresentationFormat>On-screen Show (16:9)</PresentationFormat>
  <Paragraphs>1756</Paragraphs>
  <Slides>10</Slides>
  <Notes>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0"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Mix Analysis (Replace with So What)</vt:lpstr>
      <vt:lpstr>Trade Margin Analysis by Retailer (Replace with So What)</vt:lpstr>
      <vt:lpstr>Sector KPIs Summary (Replace with So What)</vt:lpstr>
      <vt:lpstr>SKU KPIs Summary (Replace with So What)</vt:lpstr>
      <vt:lpstr>Mix Matrix (Replace with So What)</vt:lpstr>
      <vt:lpstr>Mix Matrix by brand (Replace with So What)</vt:lpstr>
      <vt:lpstr>Sector Spending pool split (Replace with So What)</vt:lpstr>
      <vt:lpstr>Product Spending pool split (Replace with So What)</vt:lpstr>
      <vt:lpstr>SKU Profitability Analysis with TM% (Replace with So What)</vt:lpstr>
      <vt:lpstr>Trade margin table vs Competition (Replace with So Wha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x Analysis (Replace with So What)</dc:title>
  <dc:creator>Bhagya RANASINGHE</dc:creator>
  <cp:lastModifiedBy>Yomna ABDULLATIF</cp:lastModifiedBy>
  <cp:revision>35</cp:revision>
  <dcterms:created xsi:type="dcterms:W3CDTF">2024-07-05T15:31:56Z</dcterms:created>
  <dcterms:modified xsi:type="dcterms:W3CDTF">2025-07-16T16:25: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